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2" r:id="rId1"/>
    <p:sldMasterId id="2147483702" r:id="rId2"/>
    <p:sldMasterId id="2147483712" r:id="rId3"/>
  </p:sldMasterIdLst>
  <p:notesMasterIdLst>
    <p:notesMasterId r:id="rId27"/>
  </p:notesMasterIdLst>
  <p:handoutMasterIdLst>
    <p:handoutMasterId r:id="rId28"/>
  </p:handoutMasterIdLst>
  <p:sldIdLst>
    <p:sldId id="282" r:id="rId4"/>
    <p:sldId id="478" r:id="rId5"/>
    <p:sldId id="497" r:id="rId6"/>
    <p:sldId id="480" r:id="rId7"/>
    <p:sldId id="481" r:id="rId8"/>
    <p:sldId id="498" r:id="rId9"/>
    <p:sldId id="474" r:id="rId10"/>
    <p:sldId id="482" r:id="rId11"/>
    <p:sldId id="475" r:id="rId12"/>
    <p:sldId id="490" r:id="rId13"/>
    <p:sldId id="476" r:id="rId14"/>
    <p:sldId id="484" r:id="rId15"/>
    <p:sldId id="499" r:id="rId16"/>
    <p:sldId id="477" r:id="rId17"/>
    <p:sldId id="486" r:id="rId18"/>
    <p:sldId id="479" r:id="rId19"/>
    <p:sldId id="487" r:id="rId20"/>
    <p:sldId id="488" r:id="rId21"/>
    <p:sldId id="491" r:id="rId22"/>
    <p:sldId id="492" r:id="rId23"/>
    <p:sldId id="493" r:id="rId24"/>
    <p:sldId id="494" r:id="rId25"/>
    <p:sldId id="495" r:id="rId26"/>
  </p:sldIdLst>
  <p:sldSz cx="11161713" cy="7921625"/>
  <p:notesSz cx="6797675" cy="9926638"/>
  <p:defaultTextStyle>
    <a:defPPr>
      <a:defRPr lang="en-US"/>
    </a:defPPr>
    <a:lvl1pPr marL="0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1pPr>
    <a:lvl2pPr marL="545211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2pPr>
    <a:lvl3pPr marL="1090422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3pPr>
    <a:lvl4pPr marL="1635633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4pPr>
    <a:lvl5pPr marL="2180844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5pPr>
    <a:lvl6pPr marL="2726055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6pPr>
    <a:lvl7pPr marL="3271266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7pPr>
    <a:lvl8pPr marL="3816477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8pPr>
    <a:lvl9pPr marL="4361688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75" userDrawn="1">
          <p15:clr>
            <a:srgbClr val="A4A3A4"/>
          </p15:clr>
        </p15:guide>
        <p15:guide id="2" pos="499" userDrawn="1">
          <p15:clr>
            <a:srgbClr val="A4A3A4"/>
          </p15:clr>
        </p15:guide>
        <p15:guide id="3" pos="40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D338A"/>
    <a:srgbClr val="EAECEE"/>
    <a:srgbClr val="F3C9B2"/>
    <a:srgbClr val="B2D4EC"/>
    <a:srgbClr val="C8E7A7"/>
    <a:srgbClr val="FF3399"/>
    <a:srgbClr val="2D3741"/>
    <a:srgbClr val="00FF00"/>
    <a:srgbClr val="3443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76" autoAdjust="0"/>
    <p:restoredTop sz="91082" autoAdjust="0"/>
  </p:normalViewPr>
  <p:slideViewPr>
    <p:cSldViewPr snapToGrid="0">
      <p:cViewPr>
        <p:scale>
          <a:sx n="125" d="100"/>
          <a:sy n="125" d="100"/>
        </p:scale>
        <p:origin x="582" y="-924"/>
      </p:cViewPr>
      <p:guideLst>
        <p:guide orient="horz" pos="3175"/>
        <p:guide pos="499"/>
        <p:guide pos="4037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400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15C74C-F762-4231-81D0-8FD82B93ADA8}" type="datetimeFigureOut">
              <a:rPr lang="ko-KR" altLang="en-US" smtClean="0"/>
              <a:t>2024-06-1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C01A3-CEA7-4BFF-AE43-97085C1847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6713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41A65-4AAB-4DB7-9150-7E49A13EDA10}" type="datetimeFigureOut">
              <a:rPr lang="ko-KR" altLang="en-US" smtClean="0"/>
              <a:t>2024-06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039813" y="1241425"/>
            <a:ext cx="4718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A1949-E4AA-4B74-A061-F9D78D34819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0842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1pPr>
    <a:lvl2pPr marL="545211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2pPr>
    <a:lvl3pPr marL="1090422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3pPr>
    <a:lvl4pPr marL="1635633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4pPr>
    <a:lvl5pPr marL="2180844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5pPr>
    <a:lvl6pPr marL="2726055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6pPr>
    <a:lvl7pPr marL="3271266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7pPr>
    <a:lvl8pPr marL="3816477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8pPr>
    <a:lvl9pPr marL="4361688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한화시스템</a:t>
            </a:r>
            <a:r>
              <a:rPr lang="ko-KR" altLang="en-US" dirty="0"/>
              <a:t> </a:t>
            </a:r>
            <a:r>
              <a:rPr lang="ko-KR" altLang="en-US" dirty="0" err="1"/>
              <a:t>구미사업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4272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1750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6524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2030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573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77014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23237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61643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3301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/>
              <a:t>ㅁ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289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2075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7666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2460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0" y="3873904"/>
            <a:ext cx="5707427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35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347715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39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332647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6236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163576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3616" y="3880294"/>
            <a:ext cx="5707427" cy="1627467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784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84729" y="7620976"/>
            <a:ext cx="1043556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3221571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84729" y="7620976"/>
            <a:ext cx="1043556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263011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84729" y="7620976"/>
            <a:ext cx="1043556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3937129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0" y="3873904"/>
            <a:ext cx="5707427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806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884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5894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578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Ⅰ. </a:t>
            </a:r>
            <a:r>
              <a:rPr lang="ko-KR" altLang="en-US" dirty="0"/>
              <a:t>함상인식용 </a:t>
            </a:r>
            <a:r>
              <a:rPr lang="ko-KR" altLang="en-US" dirty="0" err="1"/>
              <a:t>자동기뢰탐지장비</a:t>
            </a:r>
            <a:r>
              <a:rPr lang="ko-KR" altLang="en-US" dirty="0"/>
              <a:t> 개요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623447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Ⅱ. </a:t>
            </a:r>
            <a:r>
              <a:rPr lang="ko-KR" altLang="en-US" dirty="0"/>
              <a:t>기본 설계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8864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III. </a:t>
            </a:r>
            <a:r>
              <a:rPr lang="ko-KR" altLang="en-US" dirty="0"/>
              <a:t>시험 계획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767479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Ⅳ. </a:t>
            </a:r>
            <a:r>
              <a:rPr lang="ko-KR" altLang="en-US" dirty="0"/>
              <a:t>이슈 및 건의사항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667505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5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8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" t="16842" r="51604" b="25655"/>
          <a:stretch/>
        </p:blipFill>
        <p:spPr>
          <a:xfrm>
            <a:off x="2109148" y="7307235"/>
            <a:ext cx="1093182" cy="38984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7" y="7366841"/>
            <a:ext cx="1285054" cy="270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37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75" r:id="rId2"/>
    <p:sldLayoutId id="2147483688" r:id="rId3"/>
    <p:sldLayoutId id="2147483689" r:id="rId4"/>
    <p:sldLayoutId id="2147483686" r:id="rId5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8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12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" t="16842" r="51604" b="25655"/>
          <a:stretch/>
        </p:blipFill>
        <p:spPr>
          <a:xfrm>
            <a:off x="2109148" y="7307235"/>
            <a:ext cx="1093182" cy="38984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7" y="7366841"/>
            <a:ext cx="1285054" cy="270637"/>
          </a:xfrm>
          <a:prstGeom prst="rect">
            <a:avLst/>
          </a:prstGeom>
        </p:spPr>
      </p:pic>
      <p:sp>
        <p:nvSpPr>
          <p:cNvPr id="6" name="텍스트 개체 틀 12">
            <a:extLst>
              <a:ext uri="{FF2B5EF4-FFF2-40B4-BE49-F238E27FC236}">
                <a16:creationId xmlns:a16="http://schemas.microsoft.com/office/drawing/2014/main" id="{5FCB2412-9B5E-33AA-2AB7-B3A6E2DBB220}"/>
              </a:ext>
            </a:extLst>
          </p:cNvPr>
          <p:cNvSpPr txBox="1">
            <a:spLocks/>
          </p:cNvSpPr>
          <p:nvPr userDrawn="1"/>
        </p:nvSpPr>
        <p:spPr>
          <a:xfrm>
            <a:off x="535168" y="120395"/>
            <a:ext cx="6429836" cy="360000"/>
          </a:xfrm>
          <a:prstGeom prst="rect">
            <a:avLst/>
          </a:prstGeom>
        </p:spPr>
        <p:txBody>
          <a:bodyPr/>
          <a:lstStyle>
            <a:lvl1pPr marL="0" indent="0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None/>
              <a:defRPr lang="ko-KR" altLang="en-US" sz="2000" b="1" kern="1200" spc="-29" baseline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lang="ko-KR" altLang="en-US" sz="1514" b="1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n-ea"/>
                <a:ea typeface="+mn-ea"/>
                <a:cs typeface="+mn-cs"/>
              </a:defRPr>
            </a:lvl2pPr>
            <a:lvl3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892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704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704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379460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12090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4719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7347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빅데이터를 이용한 </a:t>
            </a:r>
            <a:r>
              <a:rPr lang="en-US" altLang="ko-KR" dirty="0"/>
              <a:t>AI</a:t>
            </a:r>
            <a:r>
              <a:rPr lang="ko-KR" altLang="en-US" dirty="0"/>
              <a:t>기반 </a:t>
            </a:r>
            <a:r>
              <a:rPr lang="ko-KR" altLang="en-US" dirty="0" err="1"/>
              <a:t>자동기뢰탐지체계</a:t>
            </a:r>
            <a:endParaRPr lang="ko-KR" altLang="en-US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33480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9" r:id="rId2"/>
    <p:sldLayoutId id="2147483710" r:id="rId3"/>
    <p:sldLayoutId id="2147483711" r:id="rId4"/>
    <p:sldLayoutId id="2147483704" r:id="rId5"/>
    <p:sldLayoutId id="2147483705" r:id="rId6"/>
    <p:sldLayoutId id="2147483706" r:id="rId7"/>
    <p:sldLayoutId id="2147483707" r:id="rId8"/>
    <p:sldLayoutId id="2147483708" r:id="rId9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12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8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247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8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cho\Desktop\설명회_마스터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65"/>
          <a:stretch/>
        </p:blipFill>
        <p:spPr bwMode="auto">
          <a:xfrm>
            <a:off x="3175" y="0"/>
            <a:ext cx="11158538" cy="726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제목 3"/>
          <p:cNvSpPr txBox="1">
            <a:spLocks/>
          </p:cNvSpPr>
          <p:nvPr/>
        </p:nvSpPr>
        <p:spPr>
          <a:xfrm>
            <a:off x="621505" y="2358782"/>
            <a:ext cx="7086555" cy="15388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1090422" rtl="0" eaLnBrk="1" latinLnBrk="1" hangingPunct="1">
              <a:spcBef>
                <a:spcPct val="0"/>
              </a:spcBef>
              <a:buNone/>
              <a:defRPr sz="4800" kern="1200">
                <a:gradFill>
                  <a:gsLst>
                    <a:gs pos="0">
                      <a:schemeClr val="accent1"/>
                    </a:gs>
                    <a:gs pos="100000">
                      <a:schemeClr val="accent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defTabSz="900113">
              <a:buClr>
                <a:prstClr val="black">
                  <a:lumMod val="75000"/>
                  <a:lumOff val="25000"/>
                </a:prstClr>
              </a:buClr>
              <a:defRPr/>
            </a:pPr>
            <a:r>
              <a:rPr lang="ko-KR" altLang="en-US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빅데이터를 이용한 </a:t>
            </a:r>
            <a:r>
              <a:rPr lang="en-US" altLang="ko-KR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AI</a:t>
            </a:r>
            <a:r>
              <a:rPr lang="ko-KR" altLang="en-US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반 </a:t>
            </a:r>
            <a:r>
              <a:rPr lang="ko-KR" altLang="en-US" sz="2800" spc="-3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자동기뢰탐지체계</a:t>
            </a:r>
            <a:br>
              <a:rPr lang="en-US" altLang="ko-KR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</a:br>
            <a:r>
              <a:rPr lang="ko-KR" altLang="en-US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함상인식용 </a:t>
            </a:r>
            <a:r>
              <a:rPr lang="ko-KR" altLang="en-US" sz="3600" b="1" spc="-3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자동기뢰탐지장비</a:t>
            </a:r>
            <a:endParaRPr lang="en-US" altLang="ko-KR" sz="3600" b="1" spc="-30" dirty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accent6">
                  <a:lumMod val="75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lvl="0" defTabSz="900113">
              <a:buClr>
                <a:prstClr val="black">
                  <a:lumMod val="75000"/>
                  <a:lumOff val="25000"/>
                </a:prstClr>
              </a:buClr>
              <a:defRPr/>
            </a:pPr>
            <a:r>
              <a:rPr lang="en-US" altLang="ko-KR" sz="3600" b="1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F</a:t>
            </a:r>
            <a:r>
              <a:rPr lang="en-US" altLang="ko-KR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/</a:t>
            </a:r>
            <a:r>
              <a:rPr lang="en-US" altLang="ko-KR" sz="3600" b="1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W </a:t>
            </a:r>
            <a:r>
              <a:rPr lang="en-US" altLang="ko-KR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DR</a:t>
            </a:r>
          </a:p>
        </p:txBody>
      </p:sp>
      <p:sp>
        <p:nvSpPr>
          <p:cNvPr id="9" name="부제목 7"/>
          <p:cNvSpPr txBox="1">
            <a:spLocks/>
          </p:cNvSpPr>
          <p:nvPr/>
        </p:nvSpPr>
        <p:spPr>
          <a:xfrm>
            <a:off x="721866" y="5004559"/>
            <a:ext cx="1489510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sz="3000" spc="-60">
                <a:ln>
                  <a:solidFill>
                    <a:srgbClr val="FF7108">
                      <a:shade val="50000"/>
                      <a:alpha val="0"/>
                    </a:srgb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pPr marL="0" marR="0" lvl="0" indent="0" algn="l" defTabSz="10902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1200" cap="none" spc="-3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2024</a:t>
            </a:r>
            <a:r>
              <a:rPr kumimoji="0" lang="en-US" altLang="ko-KR" sz="2400" b="0" i="0" u="none" strike="noStrike" kern="1200" cap="none" spc="-3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. 05. </a:t>
            </a:r>
            <a:r>
              <a:rPr lang="en-US" altLang="ko-KR" sz="2400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KoPub돋움체 Medium"/>
                <a:ea typeface="KoPub돋움체 Medium"/>
              </a:rPr>
              <a:t>27</a:t>
            </a:r>
            <a:endParaRPr kumimoji="0" lang="en-US" altLang="ko-KR" sz="2400" b="0" i="0" u="none" strike="noStrike" kern="1200" cap="none" spc="-3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/>
              <a:ea typeface="KoPub돋움체 Medium"/>
              <a:cs typeface="+mj-cs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612775" y="2084130"/>
            <a:ext cx="4366579" cy="66905"/>
            <a:chOff x="612775" y="1692560"/>
            <a:chExt cx="4366579" cy="138913"/>
          </a:xfrm>
        </p:grpSpPr>
        <p:sp>
          <p:nvSpPr>
            <p:cNvPr id="12" name="직사각형 11"/>
            <p:cNvSpPr/>
            <p:nvPr/>
          </p:nvSpPr>
          <p:spPr>
            <a:xfrm>
              <a:off x="612775" y="1692560"/>
              <a:ext cx="1511697" cy="138913"/>
            </a:xfrm>
            <a:prstGeom prst="rect">
              <a:avLst/>
            </a:prstGeom>
            <a:solidFill>
              <a:srgbClr val="F171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2071627" y="1692560"/>
              <a:ext cx="1511697" cy="138913"/>
            </a:xfrm>
            <a:prstGeom prst="rect">
              <a:avLst/>
            </a:prstGeom>
            <a:solidFill>
              <a:srgbClr val="F9A3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3467657" y="1692560"/>
              <a:ext cx="1511697" cy="1389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</p:grpSp>
      <p:pic>
        <p:nvPicPr>
          <p:cNvPr id="15" name="Picture 3" descr="D:\1. 사내한\2. 임시폴더(무조건 지움)\회사로고\Hanwha Systems_CMYK_43_EH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80" y="1582574"/>
            <a:ext cx="2466798" cy="38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9677400" y="99060"/>
            <a:ext cx="1264920" cy="7696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6" name="직선 연결선 15"/>
          <p:cNvCxnSpPr/>
          <p:nvPr/>
        </p:nvCxnSpPr>
        <p:spPr>
          <a:xfrm flipV="1">
            <a:off x="9677400" y="99060"/>
            <a:ext cx="1264920" cy="7696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부제목 7"/>
          <p:cNvSpPr txBox="1">
            <a:spLocks/>
          </p:cNvSpPr>
          <p:nvPr/>
        </p:nvSpPr>
        <p:spPr>
          <a:xfrm>
            <a:off x="10418831" y="483870"/>
            <a:ext cx="338554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sz="3000" spc="-60">
                <a:ln>
                  <a:solidFill>
                    <a:srgbClr val="FF7108">
                      <a:shade val="50000"/>
                      <a:alpha val="0"/>
                    </a:srgb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pPr marL="0" marR="0" lvl="0" indent="0" algn="l" defTabSz="10902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1200" cap="none" spc="-3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3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4F226C-5260-4E53-B1AA-109A0605BCB9}"/>
              </a:ext>
            </a:extLst>
          </p:cNvPr>
          <p:cNvSpPr txBox="1"/>
          <p:nvPr/>
        </p:nvSpPr>
        <p:spPr>
          <a:xfrm>
            <a:off x="621505" y="4193580"/>
            <a:ext cx="5832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/>
              <a:t>이동형 펌웨어 설계</a:t>
            </a:r>
          </a:p>
        </p:txBody>
      </p:sp>
    </p:spTree>
    <p:extLst>
      <p:ext uri="{BB962C8B-B14F-4D97-AF65-F5344CB8AC3E}">
        <p14:creationId xmlns:p14="http://schemas.microsoft.com/office/powerpoint/2010/main" val="1325774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E8D2A550-E2B6-44E6-A096-ED696C796B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8842" y="1820659"/>
            <a:ext cx="6984825" cy="529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697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2469551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3.</a:t>
                      </a:r>
                      <a:r>
                        <a:rPr lang="ko-KR" altLang="en-US"/>
                        <a:t>이동형 펌웨어 </a:t>
                      </a:r>
                      <a:r>
                        <a:rPr lang="en-US" altLang="ko-KR"/>
                        <a:t>CSCI </a:t>
                      </a:r>
                      <a:r>
                        <a:rPr lang="ko-KR" altLang="en-US"/>
                        <a:t>순서</a:t>
                      </a:r>
                      <a:r>
                        <a:rPr lang="en-US" altLang="ko-KR"/>
                        <a:t>3.</a:t>
                      </a:r>
                      <a:r>
                        <a:rPr lang="ko-KR" altLang="en-US"/>
                        <a:t>이동형 펌웨어 </a:t>
                      </a:r>
                      <a:r>
                        <a:rPr lang="en-US" altLang="ko-KR"/>
                        <a:t>CSCI </a:t>
                      </a:r>
                      <a:r>
                        <a:rPr lang="ko-KR" altLang="en-US"/>
                        <a:t>순서 다이어그램</a:t>
                      </a:r>
                      <a:r>
                        <a:rPr lang="en-US" altLang="ko-KR"/>
                        <a:t>_word</a:t>
                      </a:r>
                      <a:r>
                        <a:rPr lang="ko-KR" altLang="en-US"/>
                        <a:t>용 다이어그램</a:t>
                      </a:r>
                      <a:r>
                        <a:rPr lang="en-US" altLang="ko-KR"/>
                        <a:t>_word</a:t>
                      </a:r>
                      <a:r>
                        <a:rPr lang="ko-KR" altLang="en-US"/>
                        <a:t>용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11" name="그림 10">
            <a:extLst>
              <a:ext uri="{FF2B5EF4-FFF2-40B4-BE49-F238E27FC236}">
                <a16:creationId xmlns:a16="http://schemas.microsoft.com/office/drawing/2014/main" id="{57BC59F6-1032-4649-A282-6EB4E4F2B4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4660" y="1813596"/>
            <a:ext cx="6430618" cy="525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4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r>
              <a:rPr lang="en-US" altLang="ko-KR"/>
              <a:t>(1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396839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``</a:t>
                      </a:r>
                      <a:r>
                        <a:rPr lang="ko-KR" altLang="en-US"/>
                        <a:t>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8C29AC37-A085-4B36-A161-9FD8B08DE6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4222" y="1783411"/>
            <a:ext cx="7875408" cy="5277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7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r>
              <a:rPr lang="en-US" altLang="ko-KR"/>
              <a:t>(2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``</a:t>
                      </a:r>
                      <a:r>
                        <a:rPr lang="ko-KR" altLang="en-US"/>
                        <a:t>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51A5E40B-8FEE-4702-A7B6-1729E6119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6303" y="1986335"/>
            <a:ext cx="8732749" cy="5196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5403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3EC7D050-7F0D-4BF3-BEA4-BD956E0FE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470" y="3232140"/>
            <a:ext cx="6642570" cy="194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836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919A8859-C928-48C0-AEC3-66E54CB3A3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040" y="2670687"/>
            <a:ext cx="7058792" cy="285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13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Z</a:t>
            </a:r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4AF50904-6FF1-4843-B2EF-C4882CD8B8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225" y="3149661"/>
            <a:ext cx="8124826" cy="2890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18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0D1D62D0-C59C-4A4E-8586-F9130EADA8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460" y="2657432"/>
            <a:ext cx="8204354" cy="34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08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XXXX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65544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7E75D0F7-8DF5-4741-A91F-C8A301C43F08}"/>
              </a:ext>
            </a:extLst>
          </p:cNvPr>
          <p:cNvSpPr/>
          <p:nvPr/>
        </p:nvSpPr>
        <p:spPr>
          <a:xfrm>
            <a:off x="609599" y="3960812"/>
            <a:ext cx="10120313" cy="12062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>
                <a:solidFill>
                  <a:srgbClr val="0000FF"/>
                </a:solidFill>
              </a:rPr>
              <a:t>활동 다이어그램</a:t>
            </a:r>
          </a:p>
        </p:txBody>
      </p:sp>
    </p:spTree>
    <p:extLst>
      <p:ext uri="{BB962C8B-B14F-4D97-AF65-F5344CB8AC3E}">
        <p14:creationId xmlns:p14="http://schemas.microsoft.com/office/powerpoint/2010/main" val="37185890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3256167E-65E8-46E3-8978-55EACF16BC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0392" y="1773900"/>
            <a:ext cx="5146803" cy="538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13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이동형 펌웨어 </a:t>
            </a:r>
            <a:r>
              <a:rPr lang="en-US" altLang="ko-KR"/>
              <a:t>CSC </a:t>
            </a:r>
            <a:r>
              <a:rPr lang="ko-KR" altLang="en-US"/>
              <a:t>구성 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EF45362C-86AC-4CB3-8617-0B533E102C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7699" y="2389283"/>
            <a:ext cx="5546314" cy="4452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067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92EE9B88-65A9-4007-A7E4-387A1AF4F2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4720" y="1710438"/>
            <a:ext cx="5229374" cy="5406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886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928792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algn="ctr"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569C24FA-350D-4456-A073-9FAEB78331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4434" y="1794270"/>
            <a:ext cx="9117680" cy="534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691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A49C2E24-A408-4B71-9BCD-639C92D5E9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6150" y="2873585"/>
            <a:ext cx="5433726" cy="253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834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8354302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algn="ctr"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30F90D45-3233-4FBA-A5F3-76312A5CF8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7219" y="2580272"/>
            <a:ext cx="7630494" cy="386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948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이동형 펌웨어 </a:t>
            </a:r>
            <a:r>
              <a:rPr lang="en-US" altLang="ko-KR"/>
              <a:t>CSC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501254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`</a:t>
                      </a:r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209CCA62-8BD8-4DC8-8575-FE2CCB1A28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0024" y="1675286"/>
            <a:ext cx="7800079" cy="5630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2544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이동형 펌웨어 </a:t>
            </a:r>
            <a:r>
              <a:rPr lang="en-US" altLang="ko-KR"/>
              <a:t>CSC </a:t>
            </a:r>
            <a:r>
              <a:rPr lang="ko-KR" altLang="en-US"/>
              <a:t>활동 다이어그램 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C017A5CC-908E-4FD0-90B6-3949CC80D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5221" y="1891491"/>
            <a:ext cx="5549070" cy="5135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64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이동형 펌웨어 </a:t>
            </a:r>
            <a:r>
              <a:rPr lang="en-US" altLang="ko-KR"/>
              <a:t>CSC </a:t>
            </a:r>
            <a:r>
              <a:rPr lang="ko-KR" altLang="en-US"/>
              <a:t>순서도</a:t>
            </a:r>
            <a:r>
              <a:rPr lang="en-US" altLang="ko-KR"/>
              <a:t>(1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B7859D60-B1BC-440B-8FBF-39FAF59F24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8489" y="1697836"/>
            <a:ext cx="8583132" cy="5495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894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이동형 펌웨어 </a:t>
            </a:r>
            <a:r>
              <a:rPr lang="en-US" altLang="ko-KR"/>
              <a:t>CSC </a:t>
            </a:r>
            <a:r>
              <a:rPr lang="ko-KR" altLang="en-US"/>
              <a:t>순서도</a:t>
            </a:r>
            <a:r>
              <a:rPr lang="en-US" altLang="ko-KR"/>
              <a:t>(2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4835C8D5-89E4-48C6-83AE-5EDB0AA70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687" y="2456401"/>
            <a:ext cx="8010951" cy="384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109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34DF2B4F-8E62-4149-8386-87D64B7AC7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3049" y="1891491"/>
            <a:ext cx="5890586" cy="5361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91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49BD9863-BF1C-47A9-8790-DD4317EBB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224" y="1842288"/>
            <a:ext cx="4826171" cy="5282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570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4D92FAE3-76F9-4298-8B9E-F59157FB35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041" y="1718421"/>
            <a:ext cx="7692429" cy="5467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32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heme/theme1.xml><?xml version="1.0" encoding="utf-8"?>
<a:theme xmlns:a="http://schemas.openxmlformats.org/drawingml/2006/main" name="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10</TotalTime>
  <Words>172</Words>
  <Application>Microsoft Office PowerPoint</Application>
  <PresentationFormat>사용자 지정</PresentationFormat>
  <Paragraphs>46</Paragraphs>
  <Slides>23</Slides>
  <Notes>11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3</vt:i4>
      </vt:variant>
      <vt:variant>
        <vt:lpstr>슬라이드 제목</vt:lpstr>
      </vt:variant>
      <vt:variant>
        <vt:i4>23</vt:i4>
      </vt:variant>
    </vt:vector>
  </HeadingPairs>
  <TitlesOfParts>
    <vt:vector size="35" baseType="lpstr">
      <vt:lpstr>HY견명조</vt:lpstr>
      <vt:lpstr>HY헤드라인M</vt:lpstr>
      <vt:lpstr>KoPub돋움체 Bold</vt:lpstr>
      <vt:lpstr>KoPub돋움체 Medium</vt:lpstr>
      <vt:lpstr>Rix모던고딕 B</vt:lpstr>
      <vt:lpstr>맑은 고딕</vt:lpstr>
      <vt:lpstr>에스코어 드림 7 ExtraBold</vt:lpstr>
      <vt:lpstr>Arial</vt:lpstr>
      <vt:lpstr>Wingdings</vt:lpstr>
      <vt:lpstr>기본</vt:lpstr>
      <vt:lpstr>1_기본</vt:lpstr>
      <vt:lpstr>2_기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Z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태건(TaeGeon Kim)/해양시스템 2팀</dc:creator>
  <cp:lastModifiedBy>Hwang Bradly</cp:lastModifiedBy>
  <cp:revision>1123</cp:revision>
  <cp:lastPrinted>2024-01-10T04:32:56Z</cp:lastPrinted>
  <dcterms:created xsi:type="dcterms:W3CDTF">2019-11-23T00:17:04Z</dcterms:created>
  <dcterms:modified xsi:type="dcterms:W3CDTF">2024-06-18T02:42:48Z</dcterms:modified>
</cp:coreProperties>
</file>